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ink/ink4.xml" ContentType="application/inkml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9"/>
  </p:notesMasterIdLst>
  <p:sldIdLst>
    <p:sldId id="258" r:id="rId2"/>
    <p:sldId id="27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6" r:id="rId18"/>
  </p:sldIdLst>
  <p:sldSz cx="18288000" cy="10287000"/>
  <p:notesSz cx="6858000" cy="9144000"/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655">
          <p15:clr>
            <a:srgbClr val="A4A3A4"/>
          </p15:clr>
        </p15:guide>
        <p15:guide id="2" pos="58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4DBBE1-B0F7-CE35-3A62-E0448E53FD4C}" v="24" dt="2024-11-18T20:20:07.7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8"/>
    <p:restoredTop sz="94789"/>
  </p:normalViewPr>
  <p:slideViewPr>
    <p:cSldViewPr snapToGrid="0">
      <p:cViewPr varScale="1">
        <p:scale>
          <a:sx n="52" d="100"/>
          <a:sy n="52" d="100"/>
        </p:scale>
        <p:origin x="221" y="67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5349 1046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641 8755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3327 12522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5108 12408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3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6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554 7506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4766 1547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2 8306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415 831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146 4861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09 5503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01 5857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354 5857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900 5244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8010 6597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8548 1577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889 1478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8345 9718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99 916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7099 9162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6258 714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6" units="1/cm"/>
          <inkml:channelProperty channel="Y" name="resolution" value="28.34646" units="1/cm"/>
        </inkml:channelProperties>
      </inkml:inkSource>
      <inkml:timestamp xml:id="ts0" timeString="2024-11-12T22:51: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1189 765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0617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/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/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/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/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/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/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/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/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/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/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/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/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/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/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/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/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/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/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/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/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/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/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think-cell data - do not delet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/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28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customXml" Target="../ink/ink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ustomXml" Target="../ink/ink8.xml"/><Relationship Id="rId13" Type="http://schemas.openxmlformats.org/officeDocument/2006/relationships/customXml" Target="../ink/ink13.xml"/><Relationship Id="rId18" Type="http://schemas.openxmlformats.org/officeDocument/2006/relationships/customXml" Target="../ink/ink17.xml"/><Relationship Id="rId26" Type="http://schemas.openxmlformats.org/officeDocument/2006/relationships/customXml" Target="../ink/ink23.xml"/><Relationship Id="rId3" Type="http://schemas.openxmlformats.org/officeDocument/2006/relationships/image" Target="../media/image19.png"/><Relationship Id="rId21" Type="http://schemas.openxmlformats.org/officeDocument/2006/relationships/customXml" Target="../ink/ink19.xml"/><Relationship Id="rId7" Type="http://schemas.openxmlformats.org/officeDocument/2006/relationships/customXml" Target="../ink/ink7.xml"/><Relationship Id="rId12" Type="http://schemas.openxmlformats.org/officeDocument/2006/relationships/customXml" Target="../ink/ink12.xml"/><Relationship Id="rId17" Type="http://schemas.openxmlformats.org/officeDocument/2006/relationships/image" Target="../media/image23.png"/><Relationship Id="rId25" Type="http://schemas.openxmlformats.org/officeDocument/2006/relationships/customXml" Target="../ink/ink22.xml"/><Relationship Id="rId2" Type="http://schemas.openxmlformats.org/officeDocument/2006/relationships/notesSlide" Target="../notesSlides/notesSlide17.xml"/><Relationship Id="rId16" Type="http://schemas.openxmlformats.org/officeDocument/2006/relationships/customXml" Target="../ink/ink16.xml"/><Relationship Id="rId20" Type="http://schemas.openxmlformats.org/officeDocument/2006/relationships/customXml" Target="../ink/ink18.xml"/><Relationship Id="rId29" Type="http://schemas.openxmlformats.org/officeDocument/2006/relationships/customXml" Target="../ink/ink26.xml"/><Relationship Id="rId1" Type="http://schemas.openxmlformats.org/officeDocument/2006/relationships/slideLayout" Target="../slideLayouts/slideLayout7.xml"/><Relationship Id="rId6" Type="http://schemas.openxmlformats.org/officeDocument/2006/relationships/customXml" Target="../ink/ink6.xml"/><Relationship Id="rId11" Type="http://schemas.openxmlformats.org/officeDocument/2006/relationships/customXml" Target="../ink/ink11.xml"/><Relationship Id="rId24" Type="http://schemas.openxmlformats.org/officeDocument/2006/relationships/customXml" Target="../ink/ink21.xml"/><Relationship Id="rId32" Type="http://schemas.openxmlformats.org/officeDocument/2006/relationships/customXml" Target="../ink/ink29.xml"/><Relationship Id="rId5" Type="http://schemas.openxmlformats.org/officeDocument/2006/relationships/image" Target="../media/image22.png"/><Relationship Id="rId15" Type="http://schemas.openxmlformats.org/officeDocument/2006/relationships/customXml" Target="../ink/ink15.xml"/><Relationship Id="rId23" Type="http://schemas.openxmlformats.org/officeDocument/2006/relationships/image" Target="../media/image25.png"/><Relationship Id="rId28" Type="http://schemas.openxmlformats.org/officeDocument/2006/relationships/customXml" Target="../ink/ink25.xml"/><Relationship Id="rId10" Type="http://schemas.openxmlformats.org/officeDocument/2006/relationships/customXml" Target="../ink/ink10.xml"/><Relationship Id="rId19" Type="http://schemas.openxmlformats.org/officeDocument/2006/relationships/image" Target="../media/image24.png"/><Relationship Id="rId31" Type="http://schemas.openxmlformats.org/officeDocument/2006/relationships/customXml" Target="../ink/ink28.xml"/><Relationship Id="rId4" Type="http://schemas.openxmlformats.org/officeDocument/2006/relationships/customXml" Target="../ink/ink5.xml"/><Relationship Id="rId9" Type="http://schemas.openxmlformats.org/officeDocument/2006/relationships/customXml" Target="../ink/ink9.xml"/><Relationship Id="rId14" Type="http://schemas.openxmlformats.org/officeDocument/2006/relationships/customXml" Target="../ink/ink14.xml"/><Relationship Id="rId22" Type="http://schemas.openxmlformats.org/officeDocument/2006/relationships/customXml" Target="../ink/ink20.xml"/><Relationship Id="rId27" Type="http://schemas.openxmlformats.org/officeDocument/2006/relationships/customXml" Target="../ink/ink24.xml"/><Relationship Id="rId30" Type="http://schemas.openxmlformats.org/officeDocument/2006/relationships/customXml" Target="../ink/ink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3" Type="http://schemas.openxmlformats.org/officeDocument/2006/relationships/image" Target="../media/image5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customXml" Target="../ink/ink2.xml"/><Relationship Id="rId5" Type="http://schemas.openxmlformats.org/officeDocument/2006/relationships/image" Target="../media/image5.png"/><Relationship Id="rId4" Type="http://schemas.openxmlformats.org/officeDocument/2006/relationships/customXml" Target="../ink/ink1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Изображение выглядит как черно-белый, небо, строительство, монохромный&#10;&#10;Автоматически созданное описание">
            <a:extLst>
              <a:ext uri="{FF2B5EF4-FFF2-40B4-BE49-F238E27FC236}">
                <a16:creationId xmlns:a16="http://schemas.microsoft.com/office/drawing/2014/main" id="{EE5BE920-1F57-FA46-8F23-FF6B1FD10EC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</a:blip>
          <a:srcRect t="42640" b="12360"/>
          <a:stretch/>
        </p:blipFill>
        <p:spPr>
          <a:xfrm>
            <a:off x="20" y="10"/>
            <a:ext cx="18287980" cy="10286990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4D9C703-2CF1-426D-6A50-16AEED15C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891" y="639618"/>
            <a:ext cx="15392400" cy="5347303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2100" kern="1200">
                <a:ln w="22225">
                  <a:solidFill>
                    <a:schemeClr val="tx1"/>
                  </a:solidFill>
                  <a:miter lim="800000"/>
                </a:ln>
                <a:noFill/>
                <a:latin typeface="+mj-lt"/>
                <a:ea typeface="+mj-ea"/>
                <a:cs typeface="+mj-cs"/>
              </a:rPr>
              <a:t>Архитектура программного обеспечения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I01fn0U7Cg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 err="1"/>
              <a:t>Модель</a:t>
            </a:r>
            <a:r>
              <a:rPr dirty="0"/>
              <a:t>, </a:t>
            </a:r>
            <a:r>
              <a:rPr dirty="0" err="1"/>
              <a:t>где</a:t>
            </a:r>
            <a:r>
              <a:rPr dirty="0"/>
              <a:t> </a:t>
            </a:r>
            <a:r>
              <a:rPr dirty="0" err="1"/>
              <a:t>клиент</a:t>
            </a:r>
            <a:r>
              <a:rPr dirty="0"/>
              <a:t> </a:t>
            </a:r>
            <a:r>
              <a:rPr dirty="0" err="1"/>
              <a:t>отправляет</a:t>
            </a:r>
            <a:r>
              <a:rPr dirty="0"/>
              <a:t> </a:t>
            </a:r>
            <a:r>
              <a:rPr dirty="0" err="1"/>
              <a:t>запросы</a:t>
            </a:r>
            <a:r>
              <a:rPr dirty="0"/>
              <a:t> </a:t>
            </a:r>
            <a:r>
              <a:rPr dirty="0" err="1"/>
              <a:t>серверу</a:t>
            </a:r>
            <a:r>
              <a:rPr dirty="0"/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Преимущества</a:t>
            </a:r>
            <a:r>
              <a:rPr dirty="0"/>
              <a:t>: </a:t>
            </a:r>
            <a:r>
              <a:rPr dirty="0" err="1"/>
              <a:t>централизованное</a:t>
            </a:r>
            <a:r>
              <a:rPr dirty="0"/>
              <a:t> </a:t>
            </a:r>
            <a:r>
              <a:rPr dirty="0" err="1"/>
              <a:t>управление</a:t>
            </a:r>
            <a:r>
              <a:rPr dirty="0"/>
              <a:t> </a:t>
            </a:r>
            <a:r>
              <a:rPr dirty="0" err="1"/>
              <a:t>данными</a:t>
            </a:r>
            <a:r>
              <a:rPr dirty="0"/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Примеры</a:t>
            </a:r>
            <a:r>
              <a:rPr dirty="0"/>
              <a:t>: </a:t>
            </a:r>
            <a:r>
              <a:rPr dirty="0" err="1"/>
              <a:t>веб-приложения</a:t>
            </a:r>
            <a:r>
              <a:rPr dirty="0"/>
              <a:t>, </a:t>
            </a:r>
            <a:r>
              <a:rPr dirty="0" err="1"/>
              <a:t>где</a:t>
            </a:r>
            <a:r>
              <a:rPr dirty="0"/>
              <a:t> </a:t>
            </a:r>
            <a:r>
              <a:rPr dirty="0" err="1"/>
              <a:t>браузеры</a:t>
            </a:r>
            <a:r>
              <a:rPr dirty="0"/>
              <a:t> </a:t>
            </a:r>
            <a:r>
              <a:rPr dirty="0" err="1"/>
              <a:t>взаимодействуют</a:t>
            </a:r>
            <a:r>
              <a:rPr dirty="0"/>
              <a:t> с </a:t>
            </a:r>
            <a:r>
              <a:rPr dirty="0" err="1"/>
              <a:t>веб-серверами</a:t>
            </a:r>
            <a:r>
              <a:rPr dirty="0"/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Клиент-серверная</a:t>
            </a:r>
            <a:r>
              <a:rPr dirty="0"/>
              <a:t> </a:t>
            </a:r>
            <a:r>
              <a:rPr dirty="0" err="1"/>
              <a:t>архитектур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VviFtDJakYk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74696" y="299725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 err="1"/>
              <a:t>Определения</a:t>
            </a:r>
            <a:r>
              <a:rPr dirty="0"/>
              <a:t>: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Масштабируемость</a:t>
            </a:r>
            <a:r>
              <a:rPr dirty="0"/>
              <a:t> — </a:t>
            </a:r>
            <a:r>
              <a:rPr dirty="0" err="1"/>
              <a:t>способность</a:t>
            </a:r>
            <a:r>
              <a:rPr dirty="0"/>
              <a:t> </a:t>
            </a:r>
            <a:r>
              <a:rPr dirty="0" err="1"/>
              <a:t>справляться</a:t>
            </a:r>
            <a:r>
              <a:rPr dirty="0"/>
              <a:t> с </a:t>
            </a:r>
            <a:r>
              <a:rPr dirty="0" err="1"/>
              <a:t>увеличением</a:t>
            </a:r>
            <a:r>
              <a:rPr dirty="0"/>
              <a:t> </a:t>
            </a:r>
            <a:r>
              <a:rPr dirty="0" err="1"/>
              <a:t>нагрузки</a:t>
            </a:r>
            <a:r>
              <a:rPr dirty="0"/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Надежность</a:t>
            </a:r>
            <a:r>
              <a:rPr dirty="0"/>
              <a:t> — </a:t>
            </a:r>
            <a:r>
              <a:rPr dirty="0" err="1"/>
              <a:t>стабильная</a:t>
            </a:r>
            <a:r>
              <a:rPr dirty="0"/>
              <a:t> </a:t>
            </a:r>
            <a:r>
              <a:rPr dirty="0" err="1"/>
              <a:t>работа</a:t>
            </a:r>
            <a:r>
              <a:rPr dirty="0"/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Безопасность</a:t>
            </a:r>
            <a:r>
              <a:rPr dirty="0"/>
              <a:t> — </a:t>
            </a:r>
            <a:r>
              <a:rPr dirty="0" err="1"/>
              <a:t>защита</a:t>
            </a:r>
            <a:r>
              <a:rPr dirty="0"/>
              <a:t> </a:t>
            </a:r>
            <a:r>
              <a:rPr dirty="0" err="1"/>
              <a:t>данных</a:t>
            </a:r>
            <a:r>
              <a:rPr dirty="0"/>
              <a:t> </a:t>
            </a:r>
            <a:r>
              <a:rPr dirty="0" err="1"/>
              <a:t>от</a:t>
            </a:r>
            <a:r>
              <a:rPr dirty="0"/>
              <a:t> </a:t>
            </a:r>
            <a:r>
              <a:rPr dirty="0" err="1"/>
              <a:t>несанкционированного</a:t>
            </a:r>
            <a:r>
              <a:rPr dirty="0"/>
              <a:t> </a:t>
            </a:r>
            <a:r>
              <a:rPr dirty="0" err="1"/>
              <a:t>доступа</a:t>
            </a:r>
            <a:r>
              <a:rPr dirty="0"/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/>
              <a:t>Методы</a:t>
            </a:r>
            <a:r>
              <a:rPr dirty="0"/>
              <a:t> </a:t>
            </a:r>
            <a:r>
              <a:rPr dirty="0" err="1"/>
              <a:t>оценки</a:t>
            </a:r>
            <a:r>
              <a:rPr dirty="0"/>
              <a:t>: </a:t>
            </a:r>
            <a:r>
              <a:rPr dirty="0" err="1"/>
              <a:t>нагрузочное</a:t>
            </a:r>
            <a:r>
              <a:rPr dirty="0"/>
              <a:t> </a:t>
            </a:r>
            <a:r>
              <a:rPr dirty="0" err="1"/>
              <a:t>тестирование</a:t>
            </a:r>
            <a:r>
              <a:rPr dirty="0"/>
              <a:t>, </a:t>
            </a:r>
            <a:r>
              <a:rPr dirty="0" err="1"/>
              <a:t>аудиты</a:t>
            </a:r>
            <a:r>
              <a:rPr dirty="0"/>
              <a:t> </a:t>
            </a:r>
            <a:r>
              <a:rPr dirty="0" err="1"/>
              <a:t>безопасности</a:t>
            </a:r>
            <a:r>
              <a:rPr dirty="0"/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574696" y="8921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Атрибуты</a:t>
            </a:r>
            <a:r>
              <a:rPr dirty="0"/>
              <a:t> </a:t>
            </a:r>
            <a:r>
              <a:rPr dirty="0" err="1"/>
              <a:t>качества</a:t>
            </a:r>
            <a:r>
              <a:rPr dirty="0"/>
              <a:t> в </a:t>
            </a:r>
            <a:r>
              <a:rPr dirty="0" err="1"/>
              <a:t>архитектуре</a:t>
            </a:r>
            <a:r>
              <a:rPr dirty="0"/>
              <a:t> ПО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TCLppdwSEc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10239" r="1023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44450" y="3344831"/>
            <a:ext cx="4624475" cy="5172635"/>
          </a:xfrm>
        </p:spPr>
        <p:txBody>
          <a:bodyPr spcFirstLastPara="1" wrap="square" lIns="0" tIns="91425" rIns="91425" bIns="91425" anchor="t" anchorCtr="0">
            <a:noAutofit/>
          </a:bodyPr>
          <a:lstStyle/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Методы</a:t>
            </a:r>
            <a:r>
              <a:rPr sz="2800" dirty="0">
                <a:cs typeface="Calibri"/>
              </a:rPr>
              <a:t>:</a:t>
            </a:r>
            <a:endParaRPr lang="ru-RU" sz="280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Горизонтально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масштабирование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добавл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серверов</a:t>
            </a:r>
            <a:r>
              <a:rPr sz="28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Вертикально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масштабирование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увелич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ресурсов</a:t>
            </a:r>
            <a:r>
              <a:rPr sz="28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Балансировка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нагрузки</a:t>
            </a:r>
            <a:r>
              <a:rPr sz="2800" dirty="0">
                <a:cs typeface="Calibri"/>
              </a:rPr>
              <a:t> — </a:t>
            </a:r>
            <a:r>
              <a:rPr sz="2800" err="1">
                <a:cs typeface="Calibri"/>
              </a:rPr>
              <a:t>распределение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запросов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дл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повышени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эффективности</a:t>
            </a:r>
            <a:r>
              <a:rPr sz="28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2800" err="1">
                <a:cs typeface="Calibri"/>
              </a:rPr>
              <a:t>Компромиссы</a:t>
            </a:r>
            <a:r>
              <a:rPr sz="2800" dirty="0">
                <a:cs typeface="Calibri"/>
              </a:rPr>
              <a:t>: </a:t>
            </a:r>
            <a:r>
              <a:rPr sz="2800" err="1">
                <a:cs typeface="Calibri"/>
              </a:rPr>
              <a:t>высокая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стоимость</a:t>
            </a:r>
            <a:r>
              <a:rPr sz="2800" dirty="0">
                <a:cs typeface="Calibri"/>
              </a:rPr>
              <a:t> </a:t>
            </a:r>
            <a:r>
              <a:rPr sz="2800" err="1">
                <a:cs typeface="Calibri"/>
              </a:rPr>
              <a:t>инфраструктуры</a:t>
            </a:r>
            <a:r>
              <a:rPr sz="2800" dirty="0">
                <a:cs typeface="Calibri"/>
              </a:rPr>
              <a:t> и </a:t>
            </a:r>
            <a:r>
              <a:rPr sz="2800" err="1">
                <a:cs typeface="Calibri"/>
              </a:rPr>
              <a:t>сложность</a:t>
            </a:r>
            <a:r>
              <a:rPr sz="2800" dirty="0">
                <a:cs typeface="Calibri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744450" y="638175"/>
            <a:ext cx="4624475" cy="2164788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Масштабируемость в архитектуре ПО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688Fna1pwOQ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082" r="2008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524" y="2915657"/>
            <a:ext cx="7529186" cy="5871882"/>
          </a:xfrm>
          <a:ln>
            <a:solidFill>
              <a:srgbClr val="4472C4"/>
            </a:solidFill>
          </a:ln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Стратегии:</a:t>
            </a:r>
          </a:p>
          <a:p>
            <a:pPr>
              <a:defRPr sz="3600">
                <a:latin typeface="Calibri"/>
              </a:defRPr>
            </a:pPr>
            <a:r>
              <a:t>Кэширование — уменьшение нагрузки через временное хранение данных.</a:t>
            </a:r>
          </a:p>
          <a:p>
            <a:pPr>
              <a:defRPr sz="3600">
                <a:latin typeface="Calibri"/>
              </a:defRPr>
            </a:pPr>
            <a:r>
              <a:t>Индексация БД — ускорение извлечения данных.</a:t>
            </a:r>
          </a:p>
          <a:p>
            <a:pPr>
              <a:defRPr sz="3600">
                <a:latin typeface="Calibri"/>
              </a:defRPr>
            </a:pPr>
            <a:r>
              <a:t>Оптимизация кода — устранение неэффективности.</a:t>
            </a:r>
          </a:p>
          <a:p>
            <a:pPr>
              <a:defRPr sz="3600">
                <a:latin typeface="Calibri"/>
              </a:defRPr>
            </a:pPr>
            <a:r>
              <a:t>Тестирование производительности и мониторинг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12612" y="63645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птимизация производительности в архитектуре ПО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idx="3"/>
          </p:nvPr>
        </p:nvSpPr>
        <p:spPr/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1" name="Рукописный ввод 10"/>
              <p14:cNvContentPartPr/>
              <p14:nvPr/>
            </p14:nvContentPartPr>
            <p14:xfrm>
              <a:off x="2954932" y="9741986"/>
              <a:ext cx="167960" cy="19372"/>
            </p14:xfrm>
          </p:contentPart>
        </mc:Choice>
        <mc:Fallback xmlns="">
          <p:pic>
            <p:nvPicPr>
              <p:cNvPr id="11" name="Рукописный ввод 10"/>
            </p:nvPicPr>
            <p:blipFill>
              <a:blip r:embed="rId5"/>
            </p:blipFill>
            <p:spPr>
              <a:xfrm>
                <a:off x="2954932" y="9741986"/>
                <a:ext cx="167960" cy="19372"/>
              </a:xfrm>
              <a:prstGeom prst="rect"/>
            </p:spPr>
          </p:pic>
        </mc:Fallback>
      </mc:AlternateContent>
      <p:sp>
        <p:nvSpPr>
          <p:cNvPr id="15" name="Объект 1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BLhscQZj0A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5331" b="5331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Общие проблемы: технический долг, изменяющиеся требования.</a:t>
            </a:r>
          </a:p>
          <a:p>
            <a:pPr>
              <a:defRPr sz="3600">
                <a:latin typeface="Calibri"/>
              </a:defRPr>
            </a:pPr>
            <a:r>
              <a:t>Влияние на качество: снижение производительности, рост затрат на поддержку.</a:t>
            </a:r>
          </a:p>
          <a:p>
            <a:pPr>
              <a:defRPr sz="3600">
                <a:latin typeface="Calibri"/>
              </a:defRPr>
            </a:pPr>
            <a:r>
              <a:t>Решения: регулярный рефакторинг, документация, согласование с целями бизнеса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Проблемы в архитектуре ПО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PzYiCWOHtfU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244" y="2431335"/>
            <a:ext cx="7529186" cy="5871882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Интеграция ИИ — предсказательный анализ, обнаружение аномалий.</a:t>
            </a:r>
          </a:p>
          <a:p>
            <a:pPr>
              <a:defRPr sz="3600">
                <a:latin typeface="Calibri"/>
              </a:defRPr>
            </a:pPr>
            <a:r>
              <a:t>Безсерверные вычисления — снижение нагрузки на серверы.</a:t>
            </a:r>
          </a:p>
          <a:p>
            <a:pPr>
              <a:defRPr sz="3600">
                <a:latin typeface="Calibri"/>
              </a:defRPr>
            </a:pPr>
            <a:r>
              <a:t>Вычисления на краю — обработка данных ближе к источникам.</a:t>
            </a:r>
          </a:p>
          <a:p>
            <a:pPr>
              <a:defRPr sz="3600">
                <a:latin typeface="Calibri"/>
              </a:defRPr>
            </a:pPr>
            <a:r>
              <a:t>Эти тенденции требуют гибкости и эффективности архитектур для данных в реальном времени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67316" y="63645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Будущие тенденции в архитектуре ПО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491" y="1605472"/>
            <a:ext cx="6499897" cy="1929653"/>
          </a:xfrm>
        </p:spPr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Список литературы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0492" y="3367875"/>
            <a:ext cx="6499896" cy="4457725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Calibri"/>
              </a:defRPr>
            </a:pPr>
            <a:r>
              <a:t>Источники для дальнейшего чтения:</a:t>
            </a:r>
          </a:p>
          <a:p>
            <a:pPr>
              <a:defRPr sz="3600">
                <a:latin typeface="Calibri"/>
              </a:defRPr>
            </a:pPr>
            <a:r>
              <a:t>"Software Architecture in Practice" Лен Бас, Пол Клементс, Рик Казман.</a:t>
            </a:r>
          </a:p>
          <a:p>
            <a:pPr>
              <a:defRPr sz="3600">
                <a:latin typeface="Calibri"/>
              </a:defRPr>
            </a:pPr>
            <a:r>
              <a:t>"Designing Data-Intensive Applications" Мартин Клеппман.</a:t>
            </a:r>
          </a:p>
          <a:p>
            <a:pPr>
              <a:defRPr sz="3600">
                <a:latin typeface="Calibri"/>
              </a:defRPr>
            </a:pPr>
            <a:r>
              <a:t>Статьи на проверенных сайтах (ThoughtWorks, InfoQ).</a:t>
            </a:r>
          </a:p>
        </p:txBody>
      </p:sp>
      <p:pic>
        <p:nvPicPr>
          <p:cNvPr id="5" name="Picture Placeholder 4" descr="VLT62-JzddA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5794" r="5794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1491" y="3207472"/>
            <a:ext cx="6499897" cy="1929653"/>
          </a:xfrm>
        </p:spPr>
        <p:txBody>
          <a:bodyPr wrap="square" anchor="t">
            <a:normAutofit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lang="ru-RU" b="1"/>
              <a:t>Спасибо!</a:t>
            </a:r>
          </a:p>
        </p:txBody>
      </p:sp>
      <p:pic>
        <p:nvPicPr>
          <p:cNvPr id="13" name="Рисунок 12" descr="Изображение выглядит как небо, синий, строительство, кривая&#10;&#10;Автоматически созданное описание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30407" r="30346"/>
          <a:stretch>
            <a:fillRect/>
          </a:stretch>
        </p:blipFill>
        <p:spPr>
          <a:xfrm>
            <a:off x="12239625" y="6375"/>
            <a:ext cx="6048375" cy="10287000"/>
          </a:xfrm>
          <a:noFill/>
        </p:spPr>
      </p:pic>
      <p:sp>
        <p:nvSpPr>
          <p:cNvPr id="20" name="Content Placeholder 5"/>
          <p:cNvSpPr>
            <a:spLocks noGrp="1"/>
          </p:cNvSpPr>
          <p:nvPr>
            <p:ph sz="quarter" idx="11"/>
          </p:nvPr>
        </p:nvSpPr>
        <p:spPr>
          <a:xfrm>
            <a:off x="10926" y="0"/>
            <a:ext cx="4094909" cy="10287000"/>
          </a:xfrm>
          <a:solidFill>
            <a:srgbClr val="006400"/>
          </a:solidFill>
        </p:spPr>
        <p:txBody>
          <a:bodyPr/>
          <a:lstStyle/>
          <a:p>
            <a:endParaRPr lang="ru-RU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4" name="Рукописный ввод 13"/>
              <p14:cNvContentPartPr/>
              <p14:nvPr/>
            </p14:nvContentPartPr>
            <p14:xfrm>
              <a:off x="15017209" y="5340494"/>
              <a:ext cx="23090" cy="23090"/>
            </p14:xfrm>
          </p:contentPart>
        </mc:Choice>
        <mc:Fallback xmlns="">
          <p:pic>
            <p:nvPicPr>
              <p:cNvPr id="14" name="Рукописный ввод 13"/>
            </p:nvPicPr>
            <p:blipFill>
              <a:blip r:embed="rId5"/>
            </p:blipFill>
            <p:spPr>
              <a:xfrm>
                <a:off x="15017209" y="5340494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Рукописный ввод 14"/>
              <p14:cNvContentPartPr/>
              <p14:nvPr/>
            </p14:nvContentPartPr>
            <p14:xfrm>
              <a:off x="13929591" y="4855585"/>
              <a:ext cx="23090" cy="23090"/>
            </p14:xfrm>
          </p:contentPart>
        </mc:Choice>
        <mc:Fallback xmlns="">
          <p:pic>
            <p:nvPicPr>
              <p:cNvPr id="15" name="Рукописный ввод 14"/>
            </p:nvPicPr>
            <p:blipFill>
              <a:blip r:embed="rId5"/>
            </p:blipFill>
            <p:spPr>
              <a:xfrm>
                <a:off x="13929591" y="485558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Рукописный ввод 15"/>
              <p14:cNvContentPartPr/>
              <p14:nvPr/>
            </p14:nvContentPartPr>
            <p14:xfrm>
              <a:off x="13929591" y="4855585"/>
              <a:ext cx="23090" cy="23090"/>
            </p14:xfrm>
          </p:contentPart>
        </mc:Choice>
        <mc:Fallback xmlns="">
          <p:pic>
            <p:nvPicPr>
              <p:cNvPr id="16" name="Рукописный ввод 15"/>
            </p:nvPicPr>
            <p:blipFill>
              <a:blip r:embed="rId5"/>
            </p:blipFill>
            <p:spPr>
              <a:xfrm>
                <a:off x="13929591" y="485558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7" name="Рукописный ввод 16"/>
              <p14:cNvContentPartPr/>
              <p14:nvPr/>
            </p14:nvContentPartPr>
            <p14:xfrm>
              <a:off x="13195643" y="3091205"/>
              <a:ext cx="23090" cy="23090"/>
            </p14:xfrm>
          </p:contentPart>
        </mc:Choice>
        <mc:Fallback xmlns="">
          <p:pic>
            <p:nvPicPr>
              <p:cNvPr id="17" name="Рукописный ввод 16"/>
            </p:nvPicPr>
            <p:blipFill>
              <a:blip r:embed="rId5"/>
            </p:blipFill>
            <p:spPr>
              <a:xfrm>
                <a:off x="13195643" y="309120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9" name="Рукописный ввод 18"/>
              <p14:cNvContentPartPr/>
              <p14:nvPr/>
            </p14:nvContentPartPr>
            <p14:xfrm>
              <a:off x="8772381" y="3538682"/>
              <a:ext cx="23090" cy="23090"/>
            </p14:xfrm>
          </p:contentPart>
        </mc:Choice>
        <mc:Fallback xmlns="">
          <p:pic>
            <p:nvPicPr>
              <p:cNvPr id="19" name="Рукописный ввод 18"/>
            </p:nvPicPr>
            <p:blipFill>
              <a:blip r:embed="rId5"/>
            </p:blipFill>
            <p:spPr>
              <a:xfrm>
                <a:off x="8772381" y="353868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1" name="Рукописный ввод 20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1" name="Рукописный ввод 20"/>
            </p:nvPicPr>
            <p:blipFill>
              <a:blip r:embed="rId5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23" name="Рукописный ввод 22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3" name="Рукописный ввод 22"/>
            </p:nvPicPr>
            <p:blipFill>
              <a:blip r:embed="rId5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24" name="Рукописный ввод 23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4" name="Рукописный ввод 23"/>
            </p:nvPicPr>
            <p:blipFill>
              <a:blip r:embed="rId5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5" name="Рукописный ввод 24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5" name="Рукописный ввод 24"/>
            </p:nvPicPr>
            <p:blipFill>
              <a:blip r:embed="rId5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26" name="Рукописный ввод 25"/>
              <p14:cNvContentPartPr/>
              <p14:nvPr/>
            </p14:nvContentPartPr>
            <p14:xfrm>
              <a:off x="14402594" y="4500562"/>
              <a:ext cx="23090" cy="23090"/>
            </p14:xfrm>
          </p:contentPart>
        </mc:Choice>
        <mc:Fallback xmlns="">
          <p:pic>
            <p:nvPicPr>
              <p:cNvPr id="26" name="Рукописный ввод 25"/>
            </p:nvPicPr>
            <p:blipFill>
              <a:blip r:embed="rId5"/>
            </p:blipFill>
            <p:spPr>
              <a:xfrm>
                <a:off x="14402594" y="4500562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7" name="Рукописный ввод 26"/>
              <p14:cNvContentPartPr/>
              <p14:nvPr/>
            </p14:nvContentPartPr>
            <p14:xfrm>
              <a:off x="1910412" y="7787950"/>
              <a:ext cx="23090" cy="23090"/>
            </p14:xfrm>
          </p:contentPart>
        </mc:Choice>
        <mc:Fallback xmlns="">
          <p:pic>
            <p:nvPicPr>
              <p:cNvPr id="27" name="Рукописный ввод 26"/>
            </p:nvPicPr>
            <p:blipFill>
              <a:blip r:embed="rId5"/>
            </p:blipFill>
            <p:spPr>
              <a:xfrm>
                <a:off x="1910412" y="7787950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8" name="Рукописный ввод 27"/>
              <p14:cNvContentPartPr/>
              <p14:nvPr/>
            </p14:nvContentPartPr>
            <p14:xfrm>
              <a:off x="12192271" y="7688551"/>
              <a:ext cx="23090" cy="23090"/>
            </p14:xfrm>
          </p:contentPart>
        </mc:Choice>
        <mc:Fallback xmlns="">
          <p:pic>
            <p:nvPicPr>
              <p:cNvPr id="28" name="Рукописный ввод 27"/>
            </p:nvPicPr>
            <p:blipFill>
              <a:blip r:embed="rId17"/>
            </p:blipFill>
            <p:spPr>
              <a:xfrm>
                <a:off x="12192271" y="7688551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29" name="Рукописный ввод 28"/>
              <p14:cNvContentPartPr/>
              <p14:nvPr/>
            </p14:nvContentPartPr>
            <p14:xfrm>
              <a:off x="14326917" y="3407713"/>
              <a:ext cx="23090" cy="23090"/>
            </p14:xfrm>
          </p:contentPart>
        </mc:Choice>
        <mc:Fallback xmlns="">
          <p:pic>
            <p:nvPicPr>
              <p:cNvPr id="29" name="Рукописный ввод 28"/>
            </p:nvPicPr>
            <p:blipFill>
              <a:blip r:embed="rId19"/>
            </p:blipFill>
            <p:spPr>
              <a:xfrm>
                <a:off x="14326917" y="3407713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30" name="Рукописный ввод 29"/>
              <p14:cNvContentPartPr/>
              <p14:nvPr/>
            </p14:nvContentPartPr>
            <p14:xfrm>
              <a:off x="14326917" y="3410509"/>
              <a:ext cx="23090" cy="23090"/>
            </p14:xfrm>
          </p:contentPart>
        </mc:Choice>
        <mc:Fallback xmlns="">
          <p:pic>
            <p:nvPicPr>
              <p:cNvPr id="30" name="Рукописный ввод 29"/>
            </p:nvPicPr>
            <p:blipFill>
              <a:blip r:embed="rId5"/>
            </p:blipFill>
            <p:spPr>
              <a:xfrm>
                <a:off x="14326917" y="341050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31" name="Рукописный ввод 30"/>
              <p14:cNvContentPartPr/>
              <p14:nvPr/>
            </p14:nvContentPartPr>
            <p14:xfrm>
              <a:off x="14326917" y="3410509"/>
              <a:ext cx="23090" cy="23090"/>
            </p14:xfrm>
          </p:contentPart>
        </mc:Choice>
        <mc:Fallback xmlns="">
          <p:pic>
            <p:nvPicPr>
              <p:cNvPr id="31" name="Рукописный ввод 30"/>
            </p:nvPicPr>
            <p:blipFill>
              <a:blip r:embed="rId5"/>
            </p:blipFill>
            <p:spPr>
              <a:xfrm>
                <a:off x="14326917" y="341050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33" name="Рукописный ввод 32"/>
              <p14:cNvContentPartPr/>
              <p14:nvPr/>
            </p14:nvContentPartPr>
            <p14:xfrm>
              <a:off x="14202984" y="4108829"/>
              <a:ext cx="23090" cy="23090"/>
            </p14:xfrm>
          </p:contentPart>
        </mc:Choice>
        <mc:Fallback xmlns="">
          <p:pic>
            <p:nvPicPr>
              <p:cNvPr id="33" name="Рукописный ввод 32"/>
            </p:nvPicPr>
            <p:blipFill>
              <a:blip r:embed="rId23"/>
            </p:blipFill>
            <p:spPr>
              <a:xfrm>
                <a:off x="14202984" y="4108829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34" name="Рукописный ввод 33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4" name="Рукописный ввод 33"/>
            </p:nvPicPr>
            <p:blipFill>
              <a:blip r:embed="rId5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5">
            <p14:nvContentPartPr>
              <p14:cNvPr id="35" name="Рукописный ввод 34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5" name="Рукописный ввод 34"/>
            </p:nvPicPr>
            <p:blipFill>
              <a:blip r:embed="rId5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36" name="Рукописный ввод 35"/>
              <p14:cNvContentPartPr/>
              <p14:nvPr/>
            </p14:nvContentPartPr>
            <p14:xfrm>
              <a:off x="14205780" y="4111625"/>
              <a:ext cx="23090" cy="23090"/>
            </p14:xfrm>
          </p:contentPart>
        </mc:Choice>
        <mc:Fallback xmlns="">
          <p:pic>
            <p:nvPicPr>
              <p:cNvPr id="36" name="Рукописный ввод 35"/>
            </p:nvPicPr>
            <p:blipFill>
              <a:blip r:embed="rId5"/>
            </p:blipFill>
            <p:spPr>
              <a:xfrm>
                <a:off x="14205780" y="411162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7">
            <p14:nvContentPartPr>
              <p14:cNvPr id="37" name="Рукописный ввод 36"/>
              <p14:cNvContentPartPr/>
              <p14:nvPr/>
            </p14:nvContentPartPr>
            <p14:xfrm>
              <a:off x="13970992" y="1102140"/>
              <a:ext cx="23090" cy="23090"/>
            </p14:xfrm>
          </p:contentPart>
        </mc:Choice>
        <mc:Fallback xmlns="">
          <p:pic>
            <p:nvPicPr>
              <p:cNvPr id="37" name="Рукописный ввод 36"/>
            </p:nvPicPr>
            <p:blipFill>
              <a:blip r:embed="rId5"/>
            </p:blipFill>
            <p:spPr>
              <a:xfrm>
                <a:off x="13970992" y="1102140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38" name="Рукописный ввод 37"/>
              <p14:cNvContentPartPr/>
              <p14:nvPr/>
            </p14:nvContentPartPr>
            <p14:xfrm>
              <a:off x="13851388" y="1661914"/>
              <a:ext cx="23090" cy="23090"/>
            </p14:xfrm>
          </p:contentPart>
        </mc:Choice>
        <mc:Fallback xmlns="">
          <p:pic>
            <p:nvPicPr>
              <p:cNvPr id="38" name="Рукописный ввод 37"/>
            </p:nvPicPr>
            <p:blipFill>
              <a:blip r:embed="rId5"/>
            </p:blipFill>
            <p:spPr>
              <a:xfrm>
                <a:off x="13851388" y="1661914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9">
            <p14:nvContentPartPr>
              <p14:cNvPr id="39" name="Рукописный ввод 38"/>
              <p14:cNvContentPartPr/>
              <p14:nvPr/>
            </p14:nvContentPartPr>
            <p14:xfrm>
              <a:off x="13844714" y="1970935"/>
              <a:ext cx="23090" cy="23090"/>
            </p14:xfrm>
          </p:contentPart>
        </mc:Choice>
        <mc:Fallback xmlns="">
          <p:pic>
            <p:nvPicPr>
              <p:cNvPr id="39" name="Рукописный ввод 38"/>
            </p:nvPicPr>
            <p:blipFill>
              <a:blip r:embed="rId5"/>
            </p:blipFill>
            <p:spPr>
              <a:xfrm>
                <a:off x="13844714" y="197093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40" name="Рукописный ввод 39"/>
              <p14:cNvContentPartPr/>
              <p14:nvPr/>
            </p14:nvContentPartPr>
            <p14:xfrm>
              <a:off x="14152021" y="1970935"/>
              <a:ext cx="23090" cy="23090"/>
            </p14:xfrm>
          </p:contentPart>
        </mc:Choice>
        <mc:Fallback xmlns="">
          <p:pic>
            <p:nvPicPr>
              <p:cNvPr id="40" name="Рукописный ввод 39"/>
            </p:nvPicPr>
            <p:blipFill>
              <a:blip r:embed="rId5"/>
            </p:blipFill>
            <p:spPr>
              <a:xfrm>
                <a:off x="14152021" y="1970935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1">
            <p14:nvContentPartPr>
              <p14:cNvPr id="41" name="Рукописный ввод 40"/>
              <p14:cNvContentPartPr/>
              <p14:nvPr/>
            </p14:nvContentPartPr>
            <p14:xfrm>
              <a:off x="14629173" y="1436417"/>
              <a:ext cx="23090" cy="23090"/>
            </p14:xfrm>
          </p:contentPart>
        </mc:Choice>
        <mc:Fallback xmlns="">
          <p:pic>
            <p:nvPicPr>
              <p:cNvPr id="41" name="Рукописный ввод 40"/>
            </p:nvPicPr>
            <p:blipFill>
              <a:blip r:embed="rId19"/>
            </p:blipFill>
            <p:spPr>
              <a:xfrm>
                <a:off x="14629173" y="1436417"/>
                <a:ext cx="23090" cy="2309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42" name="Рукописный ввод 41"/>
              <p14:cNvContentPartPr/>
              <p14:nvPr/>
            </p14:nvContentPartPr>
            <p14:xfrm>
              <a:off x="14724874" y="2616940"/>
              <a:ext cx="23090" cy="23090"/>
            </p14:xfrm>
          </p:contentPart>
        </mc:Choice>
        <mc:Fallback xmlns="">
          <p:pic>
            <p:nvPicPr>
              <p:cNvPr id="42" name="Рукописный ввод 41"/>
            </p:nvPicPr>
            <p:blipFill>
              <a:blip r:embed="rId5"/>
            </p:blipFill>
            <p:spPr>
              <a:xfrm>
                <a:off x="14724874" y="2616940"/>
                <a:ext cx="23090" cy="23090"/>
              </a:xfrm>
              <a:prstGeom prst="rect"/>
            </p:spPr>
          </p:pic>
        </mc:Fallback>
      </mc:AlternateContent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lVWozBOVY2M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203" y="2851494"/>
            <a:ext cx="7529186" cy="5871882"/>
          </a:xfrm>
        </p:spPr>
        <p:txBody>
          <a:bodyPr>
            <a:normAutofit fontScale="92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Определение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Архитектура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граммног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обеспечения</a:t>
            </a:r>
            <a:r>
              <a:rPr dirty="0">
                <a:cs typeface="Calibri"/>
              </a:rPr>
              <a:t> — </a:t>
            </a:r>
            <a:r>
              <a:rPr dirty="0" err="1">
                <a:cs typeface="Calibri"/>
              </a:rPr>
              <a:t>эт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труктура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граммной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истемы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включающа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элементы</a:t>
            </a:r>
            <a:r>
              <a:rPr dirty="0">
                <a:cs typeface="Calibri"/>
              </a:rPr>
              <a:t> и </a:t>
            </a:r>
            <a:r>
              <a:rPr dirty="0" err="1">
                <a:cs typeface="Calibri"/>
              </a:rPr>
              <a:t>отношени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межд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ними</a:t>
            </a:r>
            <a:r>
              <a:rPr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Важность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Обеспечивает</a:t>
            </a:r>
            <a:r>
              <a:rPr dirty="0">
                <a:cs typeface="Calibri"/>
              </a:rPr>
              <a:t> </a:t>
            </a:r>
            <a:r>
              <a:rPr lang="ru-RU" dirty="0">
                <a:cs typeface="Calibri"/>
              </a:rPr>
              <a:t>основ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дл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качества</a:t>
            </a:r>
            <a:r>
              <a:rPr dirty="0">
                <a:cs typeface="Calibri"/>
              </a:rPr>
              <a:t> ПО, </a:t>
            </a:r>
            <a:r>
              <a:rPr dirty="0" err="1">
                <a:cs typeface="Calibri"/>
              </a:rPr>
              <a:t>управляет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ложностью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облегчает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взаимодействие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между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заинтересованными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сторонами</a:t>
            </a:r>
            <a:r>
              <a:rPr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dirty="0" err="1">
                <a:cs typeface="Calibri"/>
              </a:rPr>
              <a:t>Роль</a:t>
            </a:r>
            <a:r>
              <a:rPr dirty="0">
                <a:cs typeface="Calibri"/>
              </a:rPr>
              <a:t> в </a:t>
            </a:r>
            <a:r>
              <a:rPr dirty="0" err="1">
                <a:cs typeface="Calibri"/>
              </a:rPr>
              <a:t>разработке</a:t>
            </a:r>
            <a:r>
              <a:rPr dirty="0">
                <a:cs typeface="Calibri"/>
              </a:rPr>
              <a:t>: </a:t>
            </a:r>
            <a:r>
              <a:rPr dirty="0" err="1">
                <a:cs typeface="Calibri"/>
              </a:rPr>
              <a:t>Чертеж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направляющий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решения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о</a:t>
            </a:r>
            <a:r>
              <a:rPr dirty="0">
                <a:cs typeface="Calibri"/>
              </a:rPr>
              <a:t> </a:t>
            </a:r>
            <a:r>
              <a:rPr dirty="0" err="1">
                <a:cs typeface="Calibri"/>
              </a:rPr>
              <a:t>проектированию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разработке</a:t>
            </a:r>
            <a:r>
              <a:rPr dirty="0">
                <a:cs typeface="Calibri"/>
              </a:rPr>
              <a:t>, </a:t>
            </a:r>
            <a:r>
              <a:rPr dirty="0" err="1">
                <a:cs typeface="Calibri"/>
              </a:rPr>
              <a:t>интеграции</a:t>
            </a:r>
            <a:r>
              <a:rPr dirty="0">
                <a:cs typeface="Calibri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9435" y="764159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Введение в архитектуру программного обеспечения</a:t>
            </a:r>
          </a:p>
        </p:txBody>
      </p:sp>
    </p:spTree>
    <p:extLst>
      <p:ext uri="{BB962C8B-B14F-4D97-AF65-F5344CB8AC3E}">
        <p14:creationId xmlns:p14="http://schemas.microsoft.com/office/powerpoint/2010/main" val="41774073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l5Tzv1alcps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69184" y="288549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Основные цели:</a:t>
            </a:r>
            <a:endParaRPr lang="ru-RU" sz="320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труктура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логичн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рганизаци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истемы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Масштабируемость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способность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правляться</a:t>
            </a:r>
            <a:r>
              <a:rPr sz="3200" dirty="0">
                <a:cs typeface="Calibri"/>
              </a:rPr>
              <a:t> с </a:t>
            </a:r>
            <a:r>
              <a:rPr sz="3200" err="1">
                <a:cs typeface="Calibri"/>
              </a:rPr>
              <a:t>увеличивающимис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нагрузками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оддерживаемость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упрощ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бновлений</a:t>
            </a:r>
            <a:r>
              <a:rPr sz="3200" dirty="0">
                <a:cs typeface="Calibri"/>
              </a:rPr>
              <a:t> и </a:t>
            </a:r>
            <a:r>
              <a:rPr sz="3200" err="1">
                <a:cs typeface="Calibri"/>
              </a:rPr>
              <a:t>исправлений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Четк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пределенны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цел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направляют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оектирование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обеспечив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ответств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истем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требованиям</a:t>
            </a:r>
            <a:r>
              <a:rPr sz="3200" dirty="0">
                <a:cs typeface="Calibri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636142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Цели архитектуры программного обеспечения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zKGGN4-E5Tw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12477" b="12477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907" y="2723478"/>
            <a:ext cx="7529186" cy="5871882"/>
          </a:xfrm>
        </p:spPr>
        <p:txBody>
          <a:bodyPr spcFirstLastPara="1" wrap="square" lIns="0" tIns="91425" rIns="91425" bIns="91425" anchor="t" anchorCtr="0">
            <a:noAutofit/>
          </a:bodyPr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Модули: независимые функциональные единицы.</a:t>
            </a:r>
            <a:endParaRPr lang="ru-RU"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ло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раздел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ответственности</a:t>
            </a:r>
            <a:r>
              <a:rPr sz="3200" dirty="0">
                <a:cs typeface="Calibri"/>
              </a:rPr>
              <a:t> (</a:t>
            </a:r>
            <a:r>
              <a:rPr sz="3200" err="1">
                <a:cs typeface="Calibri"/>
              </a:rPr>
              <a:t>представление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логика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данные</a:t>
            </a:r>
            <a:r>
              <a:rPr sz="3200" dirty="0">
                <a:cs typeface="Calibri"/>
              </a:rPr>
              <a:t>)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Канал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вяз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взаимодейств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ежду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компонентами</a:t>
            </a:r>
            <a:r>
              <a:rPr sz="3200" dirty="0">
                <a:cs typeface="Calibri"/>
              </a:rPr>
              <a:t> (API, </a:t>
            </a:r>
            <a:r>
              <a:rPr sz="3200" err="1">
                <a:cs typeface="Calibri"/>
              </a:rPr>
              <a:t>брокер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общений</a:t>
            </a:r>
            <a:r>
              <a:rPr sz="3200" dirty="0">
                <a:cs typeface="Calibri"/>
              </a:rPr>
              <a:t>)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Зависимости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отношени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ежду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компонентам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авильног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функционирования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имер</a:t>
            </a:r>
            <a:r>
              <a:rPr sz="3200" dirty="0">
                <a:cs typeface="Calibri"/>
              </a:rPr>
              <a:t>: в </a:t>
            </a:r>
            <a:r>
              <a:rPr sz="3200" err="1">
                <a:cs typeface="Calibri"/>
              </a:rPr>
              <a:t>веб-приложении</a:t>
            </a:r>
            <a:r>
              <a:rPr sz="3200" dirty="0">
                <a:cs typeface="Calibri"/>
              </a:rPr>
              <a:t> — </a:t>
            </a:r>
            <a:r>
              <a:rPr sz="3200" err="1">
                <a:cs typeface="Calibri"/>
              </a:rPr>
              <a:t>интерфейс</a:t>
            </a:r>
            <a:r>
              <a:rPr sz="3200" dirty="0">
                <a:cs typeface="Calibri"/>
              </a:rPr>
              <a:t>, API и </a:t>
            </a:r>
            <a:r>
              <a:rPr sz="3200" err="1">
                <a:cs typeface="Calibri"/>
              </a:rPr>
              <a:t>база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анных</a:t>
            </a:r>
            <a:r>
              <a:rPr sz="3200" dirty="0">
                <a:cs typeface="Calibri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9435" y="636143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сновные компоненты архитектуры ПО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Рукописный ввод 8"/>
              <p14:cNvContentPartPr/>
              <p14:nvPr/>
            </p14:nvContentPartPr>
            <p14:xfrm>
              <a:off x="1868519" y="6279141"/>
              <a:ext cx="18287" cy="18287"/>
            </p14:xfrm>
          </p:contentPart>
        </mc:Choice>
        <mc:Fallback xmlns="">
          <p:pic>
            <p:nvPicPr>
              <p:cNvPr id="9" name="Рукописный ввод 8"/>
            </p:nvPicPr>
            <p:blipFill>
              <a:blip r:embed="rId5"/>
            </p:blipFill>
            <p:spPr>
              <a:xfrm>
                <a:off x="1868519" y="6279141"/>
                <a:ext cx="18287" cy="18287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0" name="Рукописный ввод 9"/>
              <p14:cNvContentPartPr/>
              <p14:nvPr/>
            </p14:nvContentPartPr>
            <p14:xfrm>
              <a:off x="717178" y="9708379"/>
              <a:ext cx="2266952" cy="166257"/>
            </p14:xfrm>
          </p:contentPart>
        </mc:Choice>
        <mc:Fallback xmlns="">
          <p:pic>
            <p:nvPicPr>
              <p:cNvPr id="10" name="Рукописный ввод 9"/>
            </p:nvPicPr>
            <p:blipFill>
              <a:blip r:embed="rId7"/>
            </p:blipFill>
            <p:spPr>
              <a:xfrm>
                <a:off x="717178" y="9708379"/>
                <a:ext cx="2266952" cy="166257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" name="Рукописный ввод 10"/>
              <p14:cNvContentPartPr/>
              <p14:nvPr/>
            </p14:nvContentPartPr>
            <p14:xfrm>
              <a:off x="2100569" y="9760602"/>
              <a:ext cx="1090229" cy="104742"/>
            </p14:xfrm>
          </p:contentPart>
        </mc:Choice>
        <mc:Fallback xmlns="">
          <p:pic>
            <p:nvPicPr>
              <p:cNvPr id="11" name="Рукописный ввод 10"/>
            </p:nvPicPr>
            <p:blipFill>
              <a:blip r:embed="rId9"/>
            </p:blipFill>
            <p:spPr>
              <a:xfrm>
                <a:off x="2100569" y="9760602"/>
                <a:ext cx="1090229" cy="104742"/>
              </a:xfrm>
              <a:prstGeom prst="rect"/>
            </p:spPr>
          </p:pic>
        </mc:Fallback>
      </mc:AlternateContent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w9OdWfCoiw0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51480" y="2885490"/>
            <a:ext cx="7489429" cy="5892750"/>
          </a:xfrm>
        </p:spPr>
        <p:txBody>
          <a:bodyPr>
            <a:normAutofit/>
          </a:bodyPr>
          <a:lstStyle/>
          <a:p>
            <a:pPr>
              <a:defRPr sz="3600">
                <a:latin typeface="Calibri"/>
              </a:defRPr>
            </a:pPr>
            <a:r>
              <a:rPr sz="3200" dirty="0">
                <a:cs typeface="Calibri"/>
              </a:rPr>
              <a:t>Архитектурные шаблоны — решения для общих архитектурных задач.</a:t>
            </a:r>
            <a:endParaRPr lang="ru-RU" sz="3200" dirty="0">
              <a:cs typeface="Calibri"/>
            </a:endParaRP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еимущества</a:t>
            </a:r>
            <a:r>
              <a:rPr sz="3200" dirty="0">
                <a:cs typeface="Calibri"/>
              </a:rPr>
              <a:t>: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Улучш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согласованности</a:t>
            </a:r>
            <a:r>
              <a:rPr sz="3200" dirty="0">
                <a:cs typeface="Calibri"/>
              </a:rPr>
              <a:t> и </a:t>
            </a:r>
            <a:r>
              <a:rPr sz="3200" err="1">
                <a:cs typeface="Calibri"/>
              </a:rPr>
              <a:t>масштабируемости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повыш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безопасности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Сокращение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времени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разработки</a:t>
            </a:r>
            <a:r>
              <a:rPr sz="3200" dirty="0">
                <a:cs typeface="Calibri"/>
              </a:rPr>
              <a:t>.</a:t>
            </a:r>
          </a:p>
          <a:p>
            <a:pPr>
              <a:defRPr sz="3600">
                <a:latin typeface="Calibri"/>
              </a:defRPr>
            </a:pPr>
            <a:r>
              <a:rPr sz="3200" err="1">
                <a:cs typeface="Calibri"/>
              </a:rPr>
              <a:t>Пример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использования</a:t>
            </a:r>
            <a:r>
              <a:rPr sz="3200" dirty="0">
                <a:cs typeface="Calibri"/>
              </a:rPr>
              <a:t>: </a:t>
            </a:r>
            <a:r>
              <a:rPr sz="3200" err="1">
                <a:cs typeface="Calibri"/>
              </a:rPr>
              <a:t>микросервисы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масштабируемости</a:t>
            </a:r>
            <a:r>
              <a:rPr sz="3200" dirty="0">
                <a:cs typeface="Calibri"/>
              </a:rPr>
              <a:t>, </a:t>
            </a:r>
            <a:r>
              <a:rPr sz="3200" err="1">
                <a:cs typeface="Calibri"/>
              </a:rPr>
              <a:t>событийна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архитектура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для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приложений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реального</a:t>
            </a:r>
            <a:r>
              <a:rPr sz="3200" dirty="0">
                <a:cs typeface="Calibri"/>
              </a:rPr>
              <a:t> </a:t>
            </a:r>
            <a:r>
              <a:rPr sz="3200" err="1">
                <a:cs typeface="Calibri"/>
              </a:rPr>
              <a:t>времени</a:t>
            </a:r>
            <a:r>
              <a:rPr sz="3200" dirty="0">
                <a:cs typeface="Calibri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88640" y="80073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Обзор архитектурных шаблонов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62803" y="476631"/>
            <a:ext cx="5562243" cy="876859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rPr dirty="0" err="1"/>
              <a:t>Типы</a:t>
            </a:r>
            <a:r>
              <a:rPr dirty="0"/>
              <a:t> </a:t>
            </a:r>
            <a:r>
              <a:rPr dirty="0" err="1"/>
              <a:t>Архитектур</a:t>
            </a:r>
            <a:r>
              <a:rPr dirty="0"/>
              <a:t> ПО</a:t>
            </a:r>
          </a:p>
        </p:txBody>
      </p:sp>
      <p:pic>
        <p:nvPicPr>
          <p:cNvPr id="25" name="Рисунок 24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Grp="1" noChangeAspect="1"/>
          </p:cNvPicPr>
          <p:nvPr>
            <p:ph type="pic" idx="3"/>
          </p:nvPr>
        </p:nvPicPr>
        <p:blipFill>
          <a:blip r:embed="rId3"/>
          <a:srcRect t="16628" b="16628"/>
          <a:stretch>
            <a:fillRect/>
          </a:stretch>
        </p:blipFill>
        <p:spPr>
          <a:xfrm>
            <a:off x="1806031" y="2568234"/>
            <a:ext cx="1774136" cy="2661204"/>
          </a:xfrm>
        </p:spPr>
      </p:pic>
      <p:pic>
        <p:nvPicPr>
          <p:cNvPr id="27" name="Рисунок 26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3"/>
          <a:srcRect t="16628" b="16628"/>
          <a:stretch>
            <a:fillRect/>
          </a:stretch>
        </p:blipFill>
        <p:spPr>
          <a:xfrm>
            <a:off x="14709908" y="2573653"/>
            <a:ext cx="1774136" cy="266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Рисунок 28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3"/>
          <a:srcRect t="16628" b="16628"/>
          <a:stretch>
            <a:fillRect/>
          </a:stretch>
        </p:blipFill>
        <p:spPr>
          <a:xfrm>
            <a:off x="9956383" y="2571282"/>
            <a:ext cx="1774136" cy="266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Рисунок 30" descr="Изображение выглядит как строительство, небоскреб, на открытом воздухе, отражение&#10;&#10;Автоматически созданное описание"/>
          <p:cNvPicPr>
            <a:picLocks noChangeAspect="1"/>
          </p:cNvPicPr>
          <p:nvPr/>
        </p:nvPicPr>
        <p:blipFill>
          <a:blip r:embed="rId3"/>
          <a:srcRect t="16628" b="16628"/>
          <a:stretch>
            <a:fillRect/>
          </a:stretch>
        </p:blipFill>
        <p:spPr>
          <a:xfrm>
            <a:off x="5829052" y="2568234"/>
            <a:ext cx="1774136" cy="2661204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TextBox 31"/>
          <p:cNvSpPr txBox="1"/>
          <p:nvPr/>
        </p:nvSpPr>
        <p:spPr>
          <a:xfrm>
            <a:off x="1464733" y="5744634"/>
            <a:ext cx="274320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342900" indent="-342900">
              <a:buChar char="•"/>
            </a:pPr>
            <a:r>
              <a:rPr lang="en-US" sz="2800" err="1"/>
              <a:t>Монолит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: </a:t>
            </a:r>
            <a:r>
              <a:rPr lang="en-US" sz="2800" err="1"/>
              <a:t>простота</a:t>
            </a:r>
            <a:r>
              <a:rPr lang="en-US" sz="2800" dirty="0"/>
              <a:t> </a:t>
            </a:r>
            <a:r>
              <a:rPr lang="en-US" sz="2800" err="1"/>
              <a:t>разработки</a:t>
            </a:r>
            <a:r>
              <a:rPr lang="en-US" sz="2800" dirty="0"/>
              <a:t>, </a:t>
            </a:r>
            <a:r>
              <a:rPr lang="en-US" sz="2800" err="1"/>
              <a:t>но</a:t>
            </a:r>
            <a:r>
              <a:rPr lang="en-US" sz="2800" dirty="0"/>
              <a:t> </a:t>
            </a:r>
            <a:r>
              <a:rPr lang="en-US" sz="2800" err="1"/>
              <a:t>трудности</a:t>
            </a:r>
            <a:r>
              <a:rPr lang="en-US" sz="2800" dirty="0"/>
              <a:t> </a:t>
            </a:r>
            <a:r>
              <a:rPr lang="en-US" sz="2800" err="1"/>
              <a:t>масштабирования</a:t>
            </a:r>
            <a:r>
              <a:rPr lang="en-US" sz="2800" dirty="0"/>
              <a:t>. </a:t>
            </a:r>
            <a:endParaRPr lang="ru-RU" sz="2800"/>
          </a:p>
        </p:txBody>
      </p:sp>
      <p:sp>
        <p:nvSpPr>
          <p:cNvPr id="33" name="TextBox 32"/>
          <p:cNvSpPr txBox="1"/>
          <p:nvPr/>
        </p:nvSpPr>
        <p:spPr>
          <a:xfrm>
            <a:off x="5664200" y="5744634"/>
            <a:ext cx="2743200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285750" indent="-285750">
              <a:buChar char="•"/>
            </a:pPr>
            <a:r>
              <a:rPr lang="en-US" sz="2800" err="1"/>
              <a:t>Клиент-Сервер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/>
              <a:t>: </a:t>
            </a:r>
            <a:r>
              <a:rPr lang="en-US" sz="2800" err="1"/>
              <a:t>клиент</a:t>
            </a:r>
            <a:r>
              <a:rPr lang="en-US" sz="2800"/>
              <a:t> и </a:t>
            </a:r>
            <a:r>
              <a:rPr lang="en-US" sz="2800" err="1"/>
              <a:t>сервер</a:t>
            </a:r>
            <a:r>
              <a:rPr lang="en-US" sz="2800" dirty="0"/>
              <a:t> </a:t>
            </a:r>
            <a:r>
              <a:rPr lang="en-US" sz="2800" err="1"/>
              <a:t>обрабатывают</a:t>
            </a:r>
            <a:r>
              <a:rPr lang="en-US" sz="2800" dirty="0"/>
              <a:t> </a:t>
            </a:r>
            <a:r>
              <a:rPr lang="en-US" sz="2800" err="1"/>
              <a:t>запросы</a:t>
            </a:r>
            <a:r>
              <a:rPr lang="en-US" sz="2800"/>
              <a:t>. </a:t>
            </a:r>
            <a:endParaRPr lang="ru-RU" sz="2800"/>
          </a:p>
        </p:txBody>
      </p:sp>
      <p:sp>
        <p:nvSpPr>
          <p:cNvPr id="34" name="TextBox 33"/>
          <p:cNvSpPr txBox="1"/>
          <p:nvPr/>
        </p:nvSpPr>
        <p:spPr>
          <a:xfrm>
            <a:off x="9347199" y="5744634"/>
            <a:ext cx="3801533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285750" indent="-285750">
              <a:buChar char="•"/>
            </a:pPr>
            <a:r>
              <a:rPr lang="en-US" sz="2800" err="1"/>
              <a:t>Сервис-ориентирован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 </a:t>
            </a:r>
            <a:r>
              <a:rPr lang="en-US" sz="2800"/>
              <a:t>(SOA): </a:t>
            </a:r>
            <a:r>
              <a:rPr lang="en-US" sz="2800" err="1"/>
              <a:t>независимые</a:t>
            </a:r>
            <a:r>
              <a:rPr lang="en-US" sz="2800" dirty="0"/>
              <a:t> </a:t>
            </a:r>
            <a:r>
              <a:rPr lang="en-US" sz="2800" err="1"/>
              <a:t>сервисы</a:t>
            </a:r>
            <a:r>
              <a:rPr lang="en-US" sz="2800" dirty="0"/>
              <a:t> </a:t>
            </a:r>
            <a:r>
              <a:rPr lang="en-US" sz="2800" err="1"/>
              <a:t>через</a:t>
            </a:r>
            <a:r>
              <a:rPr lang="en-US" sz="2800"/>
              <a:t> API </a:t>
            </a:r>
            <a:r>
              <a:rPr lang="en-US" sz="2800" err="1"/>
              <a:t>или</a:t>
            </a:r>
            <a:r>
              <a:rPr lang="en-US" sz="2800" dirty="0"/>
              <a:t> </a:t>
            </a:r>
            <a:r>
              <a:rPr lang="en-US" sz="2800" err="1"/>
              <a:t>сообщения</a:t>
            </a:r>
            <a:r>
              <a:rPr lang="en-US" sz="2800"/>
              <a:t>. </a:t>
            </a:r>
            <a:endParaRPr lang="ru-RU" sz="2800"/>
          </a:p>
        </p:txBody>
      </p:sp>
      <p:sp>
        <p:nvSpPr>
          <p:cNvPr id="35" name="TextBox 34"/>
          <p:cNvSpPr txBox="1"/>
          <p:nvPr/>
        </p:nvSpPr>
        <p:spPr>
          <a:xfrm>
            <a:off x="13885333" y="5744633"/>
            <a:ext cx="3420533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marL="457200" indent="-457200">
              <a:buChar char="•"/>
            </a:pPr>
            <a:r>
              <a:rPr lang="en-US" sz="2800" err="1"/>
              <a:t>Микросервисная</a:t>
            </a:r>
            <a:r>
              <a:rPr lang="en-US" sz="2800" dirty="0"/>
              <a:t> </a:t>
            </a:r>
            <a:r>
              <a:rPr lang="en-US" sz="2800" err="1"/>
              <a:t>Архитектура</a:t>
            </a:r>
            <a:r>
              <a:rPr lang="en-US" sz="2800" dirty="0"/>
              <a:t>: </a:t>
            </a:r>
            <a:r>
              <a:rPr lang="en-US" sz="2800" err="1"/>
              <a:t>независимые</a:t>
            </a:r>
            <a:r>
              <a:rPr lang="en-US" sz="2800" dirty="0"/>
              <a:t> </a:t>
            </a:r>
            <a:r>
              <a:rPr lang="en-US" sz="2800" err="1"/>
              <a:t>компоненты</a:t>
            </a:r>
            <a:r>
              <a:rPr lang="en-US" sz="2800" dirty="0"/>
              <a:t> с </a:t>
            </a:r>
            <a:r>
              <a:rPr lang="en-US" sz="2800" err="1"/>
              <a:t>конкретной</a:t>
            </a:r>
            <a:r>
              <a:rPr lang="en-US" sz="2800" dirty="0"/>
              <a:t> </a:t>
            </a:r>
            <a:r>
              <a:rPr lang="en-US" sz="2800" err="1"/>
              <a:t>функцией</a:t>
            </a:r>
            <a:r>
              <a:rPr lang="en-US" sz="2800" dirty="0"/>
              <a:t>. </a:t>
            </a: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Sc5RKXLBjGg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81496" y="2574450"/>
            <a:ext cx="7489429" cy="5892750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Calibri"/>
              </a:defRPr>
            </a:pPr>
            <a:r>
              <a:t>Описание: разделение системы на слои с определенными обязанностями (представление, логика, данные).</a:t>
            </a:r>
          </a:p>
          <a:p>
            <a:pPr>
              <a:defRPr sz="3600">
                <a:latin typeface="Calibri"/>
              </a:defRPr>
            </a:pPr>
            <a:r>
              <a:t>Примеры: веб-приложения с уровнями интерфейса, логики, базы данных.</a:t>
            </a:r>
          </a:p>
          <a:p>
            <a:pPr>
              <a:defRPr sz="3600">
                <a:latin typeface="Calibri"/>
              </a:defRPr>
            </a:pPr>
            <a:r>
              <a:t>Преимущества: разделение ответственности, упрощение тестирования.</a:t>
            </a:r>
          </a:p>
          <a:p>
            <a:pPr>
              <a:defRPr sz="3600">
                <a:latin typeface="Calibri"/>
              </a:defRPr>
            </a:pPr>
            <a:r>
              <a:t>Ограничения: возможные узкие места в производительности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81496" y="5627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Шаблон многослойной архитектуры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QdAAasrZhdk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075" y="2568318"/>
            <a:ext cx="7529186" cy="5871882"/>
          </a:xfrm>
        </p:spPr>
        <p:txBody>
          <a:bodyPr>
            <a:normAutofit lnSpcReduction="10000"/>
          </a:bodyPr>
          <a:lstStyle/>
          <a:p>
            <a:pPr>
              <a:defRPr sz="3600">
                <a:latin typeface="Calibri"/>
              </a:defRPr>
            </a:pPr>
            <a:r>
              <a:t>Микросервисы: приложение состоит из независимых сервисов.</a:t>
            </a:r>
          </a:p>
          <a:p>
            <a:pPr>
              <a:defRPr sz="3600">
                <a:latin typeface="Calibri"/>
              </a:defRPr>
            </a:pPr>
            <a:r>
              <a:t>Особенности: каждый сервис реализует одну функцию, взаимодействие через HTTP или сообщения.</a:t>
            </a:r>
          </a:p>
          <a:p>
            <a:pPr>
              <a:defRPr sz="3600">
                <a:latin typeface="Calibri"/>
              </a:defRPr>
            </a:pPr>
            <a:r>
              <a:t>Преимущества: поддержка масштабируемости, гибкости.</a:t>
            </a:r>
          </a:p>
          <a:p>
            <a:pPr>
              <a:defRPr sz="3600">
                <a:latin typeface="Calibri"/>
              </a:defRPr>
            </a:pPr>
            <a:r>
              <a:t>Проблемы: сложность в управлении взаимодействиями, согласованность данных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2163" y="634775"/>
            <a:ext cx="7529186" cy="1465542"/>
          </a:xfrm>
        </p:spPr>
        <p:txBody>
          <a:bodyPr/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Архитектура микросервисов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Ct8ycSzpdE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5914" b="5914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79496" y="2871450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t>Использование событий для взаимодействия между компонентами.</a:t>
            </a:r>
          </a:p>
          <a:p>
            <a:pPr>
              <a:defRPr sz="3600">
                <a:latin typeface="Calibri"/>
              </a:defRPr>
            </a:pPr>
            <a:r>
              <a:t>Основные элементы: производители, потребители и брокеры событий.</a:t>
            </a:r>
          </a:p>
          <a:p>
            <a:pPr>
              <a:defRPr sz="3600">
                <a:latin typeface="Calibri"/>
              </a:defRPr>
            </a:pPr>
            <a:r>
              <a:t>Примеры: системы с необходимостью в реальном времени реагировать на изменения (e-commerce, IoT)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562774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6400"/>
                </a:solidFill>
                <a:latin typeface="Calibri"/>
              </a:defRPr>
            </a:pPr>
            <a:r>
              <a:t>Событийно-ориентированная архитектура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64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31</Words>
  <Application>Microsoft Office PowerPoint</Application>
  <PresentationFormat>Произвольный</PresentationFormat>
  <Paragraphs>112</Paragraphs>
  <Slides>17</Slides>
  <Notes>1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Smart Slides v1</vt:lpstr>
      <vt:lpstr>Архитектура программного обеспечения</vt:lpstr>
      <vt:lpstr>Введение в архитектуру программного обеспечения</vt:lpstr>
      <vt:lpstr>Цели архитектуры программного обеспечения</vt:lpstr>
      <vt:lpstr>Основные компоненты архитектуры ПО</vt:lpstr>
      <vt:lpstr>Обзор архитектурных шаблонов</vt:lpstr>
      <vt:lpstr>Типы Архитектур ПО</vt:lpstr>
      <vt:lpstr>Шаблон многослойной архитектуры</vt:lpstr>
      <vt:lpstr>Архитектура микросервисов</vt:lpstr>
      <vt:lpstr>Событийно-ориентированная архитектура</vt:lpstr>
      <vt:lpstr>Клиент-серверная архитектура</vt:lpstr>
      <vt:lpstr>Атрибуты качества в архитектуре ПО</vt:lpstr>
      <vt:lpstr>Масштабируемость в архитектуре ПО</vt:lpstr>
      <vt:lpstr>Оптимизация производительности в архитектуре ПО</vt:lpstr>
      <vt:lpstr>Проблемы в архитектуре ПО</vt:lpstr>
      <vt:lpstr>Будущие тенденции в архитектуре ПО</vt:lpstr>
      <vt:lpstr>Список литературы</vt:lpstr>
      <vt:lpstr>Спасибо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/>
  <cp:lastModifiedBy>mac</cp:lastModifiedBy>
  <cp:revision>267</cp:revision>
  <dcterms:created xsi:type="dcterms:W3CDTF">2024-11-12T19:51:54Z</dcterms:created>
  <dcterms:modified xsi:type="dcterms:W3CDTF">2024-11-18T20:2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5.7.1.8093</vt:lpwstr>
  </property>
</Properties>
</file>